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"/>
  </p:notesMasterIdLst>
  <p:sldIdLst>
    <p:sldId id="256" r:id="rId2"/>
    <p:sldId id="257" r:id="rId3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>
      <p:cViewPr varScale="1">
        <p:scale>
          <a:sx n="59" d="100"/>
          <a:sy n="59" d="100"/>
        </p:scale>
        <p:origin x="1042" y="27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EB82EE-7859-43C3-BD1F-7B4F0DAB0F46}" type="datetimeFigureOut">
              <a:rPr lang="en-US" smtClean="0"/>
              <a:t>5/17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D5DB85-51F6-4F8B-9C9B-239CB5AE9C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11916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5/1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28396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5/1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3018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5/1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34790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5/1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72856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5/1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87161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5/1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2668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5/17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67290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5/1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69477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5/17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71889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5/1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79294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5/1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93143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B1265C7-1F3C-4F57-ABDB-5D803F55C6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54316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6" imgW="338" imgH="340" progId="TCLayout.ActiveDocument.1">
                  <p:embed/>
                </p:oleObj>
              </mc:Choice>
              <mc:Fallback>
                <p:oleObj name="think-cell Slide" r:id="rId16" imgW="338" imgH="34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AFC6195-252C-4A88-A501-D95E0ABADDB4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55598A-3BAC-4446-A6F4-A5830ABD4FE3}" type="datetimeFigureOut">
              <a:rPr lang="en-US" smtClean="0"/>
              <a:t>5/1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6271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image" Target="../media/image1.emf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oleObject" Target="../embeddings/oleObject3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tags" Target="../tags/tag9.xml"/><Relationship Id="rId11" Type="http://schemas.openxmlformats.org/officeDocument/2006/relationships/slideLayout" Target="../slideLayouts/slideLayout6.xml"/><Relationship Id="rId5" Type="http://schemas.openxmlformats.org/officeDocument/2006/relationships/tags" Target="../tags/tag8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AEC69C2-F0BE-467B-BEA8-2663B174D36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9420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4" imgW="338" imgH="340" progId="TCLayout.ActiveDocument.1">
                  <p:embed/>
                </p:oleObj>
              </mc:Choice>
              <mc:Fallback>
                <p:oleObj name="think-cell Slide" r:id="rId4" imgW="338" imgH="34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70708856-1502-47D8-8409-81DEACD62050}"/>
              </a:ext>
            </a:extLst>
          </p:cNvPr>
          <p:cNvSpPr/>
          <p:nvPr/>
        </p:nvSpPr>
        <p:spPr>
          <a:xfrm>
            <a:off x="228600" y="197346"/>
            <a:ext cx="8915400" cy="61863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24292E"/>
                </a:solidFill>
                <a:latin typeface="-apple-system"/>
              </a:rPr>
              <a:t>The solutions are evaluated on two criteria: predicted future Index values and allocated energy from a newly discovered star</a:t>
            </a:r>
          </a:p>
          <a:p>
            <a:endParaRPr lang="en-US" dirty="0"/>
          </a:p>
          <a:p>
            <a:r>
              <a:rPr lang="en-US" dirty="0"/>
              <a:t>1) Index predictions are evaluated using RMSE metric</a:t>
            </a:r>
          </a:p>
          <a:p>
            <a:endParaRPr lang="en-US" dirty="0"/>
          </a:p>
          <a:p>
            <a:r>
              <a:rPr lang="en-US" dirty="0"/>
              <a:t>2) Energy allocation is also evaluated using RMSE metric and has a set of known factors that need to be taken into account.</a:t>
            </a:r>
          </a:p>
          <a:p>
            <a:endParaRPr lang="en-US" dirty="0"/>
          </a:p>
          <a:p>
            <a:r>
              <a:rPr lang="en-US" dirty="0"/>
              <a:t>Every galaxy has a certain limited potential for improvement in the index described by the following function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Potential for increase in the Index = </a:t>
            </a:r>
            <a:r>
              <a:rPr lang="da-DK" dirty="0"/>
              <a:t>-np.log(Index+0.01)+3</a:t>
            </a:r>
            <a:br>
              <a:rPr lang="en-US" dirty="0"/>
            </a:br>
            <a:endParaRPr lang="en-US" dirty="0"/>
          </a:p>
          <a:p>
            <a:r>
              <a:rPr lang="en-US" dirty="0"/>
              <a:t>Likely index increase dependent on potential for improvement and on extra energy availability is described by the following function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Likely increase in the Index = extra energy * Potential for increase in the Index **2 / 1000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dirty="0"/>
              <a:t>There are also several constraint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in total there are 50000 zillion DSML available for alloca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no galaxy should be allocated more than 100 zillion DSML or less than 0 zillion DSM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galaxies with low existence expectancy index below 0.7 should be allocated at least 10% of the total energy available</a:t>
            </a:r>
          </a:p>
        </p:txBody>
      </p:sp>
    </p:spTree>
    <p:extLst>
      <p:ext uri="{BB962C8B-B14F-4D97-AF65-F5344CB8AC3E}">
        <p14:creationId xmlns:p14="http://schemas.microsoft.com/office/powerpoint/2010/main" val="29607083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ED384B-C10F-45A1-9860-95E35E4E2BE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4756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12" imgW="338" imgH="340" progId="TCLayout.ActiveDocument.1">
                  <p:embed/>
                </p:oleObj>
              </mc:Choice>
              <mc:Fallback>
                <p:oleObj name="think-cell Slide" r:id="rId12" imgW="338" imgH="34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2A771C56-0BE8-4168-B654-DF4C292D446F}"/>
              </a:ext>
            </a:extLst>
          </p:cNvPr>
          <p:cNvSpPr/>
          <p:nvPr/>
        </p:nvSpPr>
        <p:spPr>
          <a:xfrm>
            <a:off x="152400" y="197346"/>
            <a:ext cx="8915400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3) </a:t>
            </a:r>
            <a:r>
              <a:rPr lang="en-US" dirty="0"/>
              <a:t>Leaderboard is based on a combined scaled metric:</a:t>
            </a:r>
            <a:endParaRPr lang="ru-RU" dirty="0"/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80% prediction task RMSE + 20% optimization task RMSE * lambda</a:t>
            </a:r>
            <a:endParaRPr lang="ru-RU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dirty="0"/>
              <a:t>where lambda is a normalizing factor</a:t>
            </a:r>
            <a:endParaRPr lang="ru-RU" dirty="0"/>
          </a:p>
          <a:p>
            <a:endParaRPr lang="en-US" dirty="0"/>
          </a:p>
          <a:p>
            <a:endParaRPr lang="ru-RU" dirty="0"/>
          </a:p>
          <a:p>
            <a:r>
              <a:rPr lang="ru-RU" dirty="0"/>
              <a:t>4) </a:t>
            </a:r>
            <a:r>
              <a:rPr lang="en-US" dirty="0"/>
              <a:t>Leaderboard is 80% public and 20% private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5) The submission should be in the following format:</a:t>
            </a:r>
          </a:p>
          <a:p>
            <a:endParaRPr lang="en-US" dirty="0"/>
          </a:p>
          <a:p>
            <a:endParaRPr lang="en-US" dirty="0"/>
          </a:p>
          <a:p>
            <a:endParaRPr lang="ru-RU" dirty="0"/>
          </a:p>
          <a:p>
            <a:endParaRPr lang="en-US" dirty="0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3F2DB9CA-1AB0-4638-81BC-BCB44CD444E6}"/>
              </a:ext>
            </a:extLst>
          </p:cNvPr>
          <p:cNvGrpSpPr/>
          <p:nvPr/>
        </p:nvGrpSpPr>
        <p:grpSpPr>
          <a:xfrm>
            <a:off x="266700" y="3810000"/>
            <a:ext cx="8610600" cy="2348346"/>
            <a:chOff x="119063" y="1016000"/>
            <a:chExt cx="8801100" cy="4953000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73E68390-0C61-408D-970B-455820486968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>
            <a:xfrm>
              <a:off x="119063" y="1016000"/>
              <a:ext cx="4273550" cy="1047750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marL="342900" lvl="0" indent="-342900">
                <a:spcBef>
                  <a:spcPct val="20000"/>
                </a:spcBef>
                <a:buFont typeface="Arial" pitchFamily="34" charset="0"/>
                <a:buChar char="•"/>
                <a:defRPr sz="3200"/>
              </a:lvl1pPr>
              <a:lvl2pPr marL="742950" lvl="1" indent="-285750">
                <a:spcBef>
                  <a:spcPct val="20000"/>
                </a:spcBef>
                <a:buFont typeface="Arial" pitchFamily="34" charset="0"/>
                <a:buChar char="–"/>
                <a:defRPr sz="2800"/>
              </a:lvl2pPr>
              <a:lvl3pPr marL="1143000" lvl="2" indent="-228600">
                <a:spcBef>
                  <a:spcPct val="20000"/>
                </a:spcBef>
                <a:buFont typeface="Arial" pitchFamily="34" charset="0"/>
                <a:buChar char="•"/>
                <a:defRPr sz="2400"/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sz="2000"/>
              </a:lvl4pPr>
              <a:lvl5pPr marL="2057400" lvl="4" indent="-228600">
                <a:spcBef>
                  <a:spcPct val="20000"/>
                </a:spcBef>
                <a:buFont typeface="Arial" pitchFamily="34" charset="0"/>
                <a:buChar char="»"/>
                <a:defRPr sz="20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0" indent="0" algn="ctr">
                <a:buNone/>
              </a:pPr>
              <a:r>
                <a:rPr lang="en-US" sz="1800" b="1" dirty="0"/>
                <a:t>Variable</a:t>
              </a:r>
              <a:endParaRPr lang="ru-RU" sz="1800" b="1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3D7F229A-623C-49C5-8060-256053D4CC86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>
            <a:xfrm>
              <a:off x="119063" y="2317750"/>
              <a:ext cx="4273550" cy="1047750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marL="342900" lvl="0" indent="-342900">
                <a:spcBef>
                  <a:spcPct val="20000"/>
                </a:spcBef>
                <a:buFont typeface="Arial" pitchFamily="34" charset="0"/>
                <a:buChar char="•"/>
                <a:defRPr sz="3200"/>
              </a:lvl1pPr>
              <a:lvl2pPr marL="742950" lvl="1" indent="-285750">
                <a:spcBef>
                  <a:spcPct val="20000"/>
                </a:spcBef>
                <a:buFont typeface="Arial" pitchFamily="34" charset="0"/>
                <a:buChar char="–"/>
                <a:defRPr sz="2800"/>
              </a:lvl2pPr>
              <a:lvl3pPr marL="1143000" lvl="2" indent="-228600">
                <a:spcBef>
                  <a:spcPct val="20000"/>
                </a:spcBef>
                <a:buFont typeface="Arial" pitchFamily="34" charset="0"/>
                <a:buChar char="•"/>
                <a:defRPr sz="2400"/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sz="2000"/>
              </a:lvl4pPr>
              <a:lvl5pPr marL="2057400" lvl="4" indent="-228600">
                <a:spcBef>
                  <a:spcPct val="20000"/>
                </a:spcBef>
                <a:buFont typeface="Arial" pitchFamily="34" charset="0"/>
                <a:buChar char="»"/>
                <a:defRPr sz="20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0" indent="0" algn="ctr">
                <a:buNone/>
              </a:pPr>
              <a:r>
                <a:rPr lang="en-US" sz="1800" dirty="0"/>
                <a:t>Index</a:t>
              </a:r>
              <a:endParaRPr lang="ru-RU" sz="1800" dirty="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5627338A-2393-496F-94D3-B45025A39D0E}"/>
                </a:ext>
              </a:extLst>
            </p:cNvPr>
            <p:cNvSpPr txBox="1"/>
            <p:nvPr>
              <p:custDataLst>
                <p:tags r:id="rId5"/>
              </p:custDataLst>
            </p:nvPr>
          </p:nvSpPr>
          <p:spPr>
            <a:xfrm>
              <a:off x="119063" y="3619500"/>
              <a:ext cx="4273550" cy="1047750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marL="342900" lvl="0" indent="-342900">
                <a:spcBef>
                  <a:spcPct val="20000"/>
                </a:spcBef>
                <a:buFont typeface="Arial" pitchFamily="34" charset="0"/>
                <a:buChar char="•"/>
                <a:defRPr sz="3200"/>
              </a:lvl1pPr>
              <a:lvl2pPr marL="742950" lvl="1" indent="-285750">
                <a:spcBef>
                  <a:spcPct val="20000"/>
                </a:spcBef>
                <a:buFont typeface="Arial" pitchFamily="34" charset="0"/>
                <a:buChar char="–"/>
                <a:defRPr sz="2800"/>
              </a:lvl2pPr>
              <a:lvl3pPr marL="1143000" lvl="2" indent="-228600">
                <a:spcBef>
                  <a:spcPct val="20000"/>
                </a:spcBef>
                <a:buFont typeface="Arial" pitchFamily="34" charset="0"/>
                <a:buChar char="•"/>
                <a:defRPr sz="2400"/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sz="2000"/>
              </a:lvl4pPr>
              <a:lvl5pPr marL="2057400" lvl="4" indent="-228600">
                <a:spcBef>
                  <a:spcPct val="20000"/>
                </a:spcBef>
                <a:buFont typeface="Arial" pitchFamily="34" charset="0"/>
                <a:buChar char="»"/>
                <a:defRPr sz="20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0" indent="0" algn="ctr">
                <a:buNone/>
              </a:pPr>
              <a:r>
                <a:rPr lang="en-US" sz="1800" dirty="0" err="1"/>
                <a:t>pred</a:t>
              </a:r>
              <a:endParaRPr lang="ru-RU" sz="1800" dirty="0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E9716463-130B-435F-B9F0-C013BBB35409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119063" y="4921249"/>
              <a:ext cx="4273550" cy="104775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marL="342900" lvl="0" indent="-342900">
                <a:spcBef>
                  <a:spcPct val="20000"/>
                </a:spcBef>
                <a:buFont typeface="Arial" pitchFamily="34" charset="0"/>
                <a:buChar char="•"/>
                <a:defRPr sz="3200"/>
              </a:lvl1pPr>
              <a:lvl2pPr marL="742950" lvl="1" indent="-285750">
                <a:spcBef>
                  <a:spcPct val="20000"/>
                </a:spcBef>
                <a:buFont typeface="Arial" pitchFamily="34" charset="0"/>
                <a:buChar char="–"/>
                <a:defRPr sz="2800"/>
              </a:lvl2pPr>
              <a:lvl3pPr marL="1143000" lvl="2" indent="-228600">
                <a:spcBef>
                  <a:spcPct val="20000"/>
                </a:spcBef>
                <a:buFont typeface="Arial" pitchFamily="34" charset="0"/>
                <a:buChar char="•"/>
                <a:defRPr sz="2400"/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sz="2000"/>
              </a:lvl4pPr>
              <a:lvl5pPr marL="2057400" lvl="4" indent="-228600">
                <a:spcBef>
                  <a:spcPct val="20000"/>
                </a:spcBef>
                <a:buFont typeface="Arial" pitchFamily="34" charset="0"/>
                <a:buChar char="»"/>
                <a:defRPr sz="20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0" indent="0" algn="ctr">
                <a:buNone/>
              </a:pPr>
              <a:r>
                <a:rPr lang="en-US" sz="1800" dirty="0" err="1"/>
                <a:t>pred_opt</a:t>
              </a:r>
              <a:endParaRPr lang="ru-RU" sz="1800" dirty="0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A3EF634A-AFFF-4DC9-921C-2BF6DBF7AF52}"/>
                </a:ext>
              </a:extLst>
            </p:cNvPr>
            <p:cNvSpPr txBox="1"/>
            <p:nvPr>
              <p:custDataLst>
                <p:tags r:id="rId7"/>
              </p:custDataLst>
            </p:nvPr>
          </p:nvSpPr>
          <p:spPr>
            <a:xfrm>
              <a:off x="4646613" y="1016000"/>
              <a:ext cx="4273550" cy="1047750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marL="342900" lvl="0" indent="-342900">
                <a:spcBef>
                  <a:spcPct val="20000"/>
                </a:spcBef>
                <a:buFont typeface="Arial" pitchFamily="34" charset="0"/>
                <a:buChar char="•"/>
                <a:defRPr sz="3200"/>
              </a:lvl1pPr>
              <a:lvl2pPr marL="742950" lvl="1" indent="-285750">
                <a:spcBef>
                  <a:spcPct val="20000"/>
                </a:spcBef>
                <a:buFont typeface="Arial" pitchFamily="34" charset="0"/>
                <a:buChar char="–"/>
                <a:defRPr sz="2800"/>
              </a:lvl2pPr>
              <a:lvl3pPr marL="1143000" lvl="2" indent="-228600">
                <a:spcBef>
                  <a:spcPct val="20000"/>
                </a:spcBef>
                <a:buFont typeface="Arial" pitchFamily="34" charset="0"/>
                <a:buChar char="•"/>
                <a:defRPr sz="2400"/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sz="2000"/>
              </a:lvl4pPr>
              <a:lvl5pPr marL="2057400" lvl="4" indent="-228600">
                <a:spcBef>
                  <a:spcPct val="20000"/>
                </a:spcBef>
                <a:buFont typeface="Arial" pitchFamily="34" charset="0"/>
                <a:buChar char="»"/>
                <a:defRPr sz="20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0" indent="0" algn="ctr">
                <a:buNone/>
              </a:pPr>
              <a:r>
                <a:rPr lang="en-US" sz="1800" b="1" dirty="0"/>
                <a:t>Description</a:t>
              </a:r>
              <a:endParaRPr lang="ru-RU" sz="1800" b="1" dirty="0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7FBAF98B-94AC-48F2-B011-3CAD9F50F19F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>
            <a:xfrm>
              <a:off x="4646613" y="2317750"/>
              <a:ext cx="4273550" cy="1047750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marL="342900" lvl="0" indent="-342900">
                <a:spcBef>
                  <a:spcPct val="20000"/>
                </a:spcBef>
                <a:buFont typeface="Arial" pitchFamily="34" charset="0"/>
                <a:buChar char="•"/>
                <a:defRPr sz="3200"/>
              </a:lvl1pPr>
              <a:lvl2pPr marL="742950" lvl="1" indent="-285750">
                <a:spcBef>
                  <a:spcPct val="20000"/>
                </a:spcBef>
                <a:buFont typeface="Arial" pitchFamily="34" charset="0"/>
                <a:buChar char="–"/>
                <a:defRPr sz="2800"/>
              </a:lvl2pPr>
              <a:lvl3pPr marL="1143000" lvl="2" indent="-228600">
                <a:spcBef>
                  <a:spcPct val="20000"/>
                </a:spcBef>
                <a:buFont typeface="Arial" pitchFamily="34" charset="0"/>
                <a:buChar char="•"/>
                <a:defRPr sz="2400"/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sz="2000"/>
              </a:lvl4pPr>
              <a:lvl5pPr marL="2057400" lvl="4" indent="-228600">
                <a:spcBef>
                  <a:spcPct val="20000"/>
                </a:spcBef>
                <a:buFont typeface="Arial" pitchFamily="34" charset="0"/>
                <a:buChar char="»"/>
                <a:defRPr sz="20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0" indent="0" algn="ctr">
                <a:buNone/>
              </a:pPr>
              <a:r>
                <a:rPr lang="en-US" sz="1800" dirty="0"/>
                <a:t>Unique index from the test dataset in the ascending order</a:t>
              </a:r>
              <a:endParaRPr lang="ru-RU" sz="1800" dirty="0"/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B7CEC847-BDA7-400E-AE2E-A2904BB88A53}"/>
                </a:ext>
              </a:extLst>
            </p:cNvPr>
            <p:cNvSpPr txBox="1"/>
            <p:nvPr>
              <p:custDataLst>
                <p:tags r:id="rId9"/>
              </p:custDataLst>
            </p:nvPr>
          </p:nvSpPr>
          <p:spPr>
            <a:xfrm>
              <a:off x="4646613" y="3619500"/>
              <a:ext cx="4273550" cy="1047750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marL="342900" lvl="0" indent="-342900">
                <a:spcBef>
                  <a:spcPct val="20000"/>
                </a:spcBef>
                <a:buFont typeface="Arial" pitchFamily="34" charset="0"/>
                <a:buChar char="•"/>
                <a:defRPr sz="3200"/>
              </a:lvl1pPr>
              <a:lvl2pPr marL="742950" lvl="1" indent="-285750">
                <a:spcBef>
                  <a:spcPct val="20000"/>
                </a:spcBef>
                <a:buFont typeface="Arial" pitchFamily="34" charset="0"/>
                <a:buChar char="–"/>
                <a:defRPr sz="2800"/>
              </a:lvl2pPr>
              <a:lvl3pPr marL="1143000" lvl="2" indent="-228600">
                <a:spcBef>
                  <a:spcPct val="20000"/>
                </a:spcBef>
                <a:buFont typeface="Arial" pitchFamily="34" charset="0"/>
                <a:buChar char="•"/>
                <a:defRPr sz="2400"/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sz="2000"/>
              </a:lvl4pPr>
              <a:lvl5pPr marL="2057400" lvl="4" indent="-228600">
                <a:spcBef>
                  <a:spcPct val="20000"/>
                </a:spcBef>
                <a:buFont typeface="Arial" pitchFamily="34" charset="0"/>
                <a:buChar char="»"/>
                <a:defRPr sz="20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0" indent="0" algn="ctr">
                <a:buNone/>
              </a:pPr>
              <a:r>
                <a:rPr lang="en-US" sz="1800" dirty="0"/>
                <a:t>Prediction for the index of interest</a:t>
              </a:r>
              <a:endParaRPr lang="ru-RU" sz="1800" dirty="0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C7A39E0D-5358-449A-9089-980C3581EB56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>
            <a:xfrm>
              <a:off x="4646613" y="4921250"/>
              <a:ext cx="4273550" cy="1047750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marL="342900" lvl="0" indent="-342900">
                <a:spcBef>
                  <a:spcPct val="20000"/>
                </a:spcBef>
                <a:buFont typeface="Arial" pitchFamily="34" charset="0"/>
                <a:buChar char="•"/>
                <a:defRPr sz="3200"/>
              </a:lvl1pPr>
              <a:lvl2pPr marL="742950" lvl="1" indent="-285750">
                <a:spcBef>
                  <a:spcPct val="20000"/>
                </a:spcBef>
                <a:buFont typeface="Arial" pitchFamily="34" charset="0"/>
                <a:buChar char="–"/>
                <a:defRPr sz="2800"/>
              </a:lvl2pPr>
              <a:lvl3pPr marL="1143000" lvl="2" indent="-228600">
                <a:spcBef>
                  <a:spcPct val="20000"/>
                </a:spcBef>
                <a:buFont typeface="Arial" pitchFamily="34" charset="0"/>
                <a:buChar char="•"/>
                <a:defRPr sz="2400"/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sz="2000"/>
              </a:lvl4pPr>
              <a:lvl5pPr marL="2057400" lvl="4" indent="-228600">
                <a:spcBef>
                  <a:spcPct val="20000"/>
                </a:spcBef>
                <a:buFont typeface="Arial" pitchFamily="34" charset="0"/>
                <a:buChar char="»"/>
                <a:defRPr sz="20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0" indent="0" algn="ctr">
                <a:buNone/>
              </a:pPr>
              <a:r>
                <a:rPr lang="en-US" sz="1800" dirty="0"/>
                <a:t>Optimal energy allocation</a:t>
              </a:r>
              <a:endParaRPr lang="ru-RU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9487484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228635934287978"/>
  <p:tag name="LEFT" val="365.875"/>
  <p:tag name="TOP" val="80"/>
  <p:tag name="HEIGHT" val="82.5"/>
  <p:tag name="WIDTH" val="336.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228635934287978"/>
  <p:tag name="LEFT" val="365.875"/>
  <p:tag name="TOP" val="182.5"/>
  <p:tag name="HEIGHT" val="82.5"/>
  <p:tag name="WIDTH" val="336.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228635934287978"/>
  <p:tag name="LEFT" val="365.875"/>
  <p:tag name="TOP" val="285"/>
  <p:tag name="HEIGHT" val="82.5"/>
  <p:tag name="WIDTH" val="336.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228635934287978"/>
  <p:tag name="LEFT" val="365.875"/>
  <p:tag name="TOP" val="387.5"/>
  <p:tag name="HEIGHT" val="82.5"/>
  <p:tag name="WIDTH" val="336.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Rjlqp9MupGqMYRMiRA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228635934287978"/>
  <p:tag name="LEFT" val="9.375039"/>
  <p:tag name="TOP" val="80"/>
  <p:tag name="HEIGHT" val="82.5"/>
  <p:tag name="WIDTH" val="336.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228635934287978"/>
  <p:tag name="LEFT" val="9.375039"/>
  <p:tag name="TOP" val="182.5"/>
  <p:tag name="HEIGHT" val="82.5"/>
  <p:tag name="WIDTH" val="336.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228635934287978"/>
  <p:tag name="LEFT" val="9.375039"/>
  <p:tag name="TOP" val="285"/>
  <p:tag name="HEIGHT" val="82.5"/>
  <p:tag name="WIDTH" val="336.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228635934287978"/>
  <p:tag name="LEFT" val="9.375039"/>
  <p:tag name="TOP" val="387.5"/>
  <p:tag name="HEIGHT" val="82.5"/>
  <p:tag name="WIDTH" val="336.5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 Template (Microsoft)</Template>
  <TotalTime>65</TotalTime>
  <Words>167</Words>
  <Application>Microsoft Office PowerPoint</Application>
  <PresentationFormat>On-screen Show (4:3)</PresentationFormat>
  <Paragraphs>36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-apple-system</vt:lpstr>
      <vt:lpstr>Arial</vt:lpstr>
      <vt:lpstr>Calibri</vt:lpstr>
      <vt:lpstr>Office Theme</vt:lpstr>
      <vt:lpstr>think-cell Slid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ladimir Selivanov</dc:creator>
  <cp:lastModifiedBy>Vladimir Selivanov</cp:lastModifiedBy>
  <cp:revision>7</cp:revision>
  <dcterms:created xsi:type="dcterms:W3CDTF">2020-05-17T20:02:30Z</dcterms:created>
  <dcterms:modified xsi:type="dcterms:W3CDTF">2020-05-17T21:07:34Z</dcterms:modified>
</cp:coreProperties>
</file>